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A156D2-D15D-422D-B078-56C5CDF08E17}" v="49" dt="2023-03-15T00:23:41.1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6A156D2-D15D-422D-B078-56C5CDF08E17}"/>
    <pc:docChg chg="modSld">
      <pc:chgData name="Roberto Gallardo" userId="49a044883f185952" providerId="LiveId" clId="{26A156D2-D15D-422D-B078-56C5CDF08E17}" dt="2023-03-15T00:23:50.385" v="185" actId="1076"/>
      <pc:docMkLst>
        <pc:docMk/>
      </pc:docMkLst>
      <pc:sldChg chg="addSp modSp mod">
        <pc:chgData name="Roberto Gallardo" userId="49a044883f185952" providerId="LiveId" clId="{26A156D2-D15D-422D-B078-56C5CDF08E17}" dt="2023-03-15T00:18:54.599" v="6" actId="1076"/>
        <pc:sldMkLst>
          <pc:docMk/>
          <pc:sldMk cId="1418533539" sldId="271"/>
        </pc:sldMkLst>
        <pc:picChg chg="add mod">
          <ac:chgData name="Roberto Gallardo" userId="49a044883f185952" providerId="LiveId" clId="{26A156D2-D15D-422D-B078-56C5CDF08E17}" dt="2023-03-15T00:18:54.599" v="6" actId="1076"/>
          <ac:picMkLst>
            <pc:docMk/>
            <pc:sldMk cId="1418533539" sldId="271"/>
            <ac:picMk id="6" creationId="{D433D18D-ADBE-71E1-3DF9-57C893CF10FA}"/>
          </ac:picMkLst>
        </pc:picChg>
      </pc:sldChg>
      <pc:sldChg chg="addSp modSp mod">
        <pc:chgData name="Roberto Gallardo" userId="49a044883f185952" providerId="LiveId" clId="{26A156D2-D15D-422D-B078-56C5CDF08E17}" dt="2023-03-15T00:20:34.483" v="58" actId="1076"/>
        <pc:sldMkLst>
          <pc:docMk/>
          <pc:sldMk cId="2124848710" sldId="281"/>
        </pc:sldMkLst>
        <pc:picChg chg="add mod">
          <ac:chgData name="Roberto Gallardo" userId="49a044883f185952" providerId="LiveId" clId="{26A156D2-D15D-422D-B078-56C5CDF08E17}" dt="2023-03-15T00:20:34.483" v="58" actId="1076"/>
          <ac:picMkLst>
            <pc:docMk/>
            <pc:sldMk cId="2124848710" sldId="281"/>
            <ac:picMk id="6" creationId="{3A137BB4-20B6-9598-2F24-97F3C14F04B2}"/>
          </ac:picMkLst>
        </pc:picChg>
      </pc:sldChg>
      <pc:sldChg chg="addSp modSp mod">
        <pc:chgData name="Roberto Gallardo" userId="49a044883f185952" providerId="LiveId" clId="{26A156D2-D15D-422D-B078-56C5CDF08E17}" dt="2023-03-15T00:20:49.218" v="68" actId="1076"/>
        <pc:sldMkLst>
          <pc:docMk/>
          <pc:sldMk cId="2028175529" sldId="282"/>
        </pc:sldMkLst>
        <pc:picChg chg="add mod">
          <ac:chgData name="Roberto Gallardo" userId="49a044883f185952" providerId="LiveId" clId="{26A156D2-D15D-422D-B078-56C5CDF08E17}" dt="2023-03-15T00:20:49.218" v="68" actId="1076"/>
          <ac:picMkLst>
            <pc:docMk/>
            <pc:sldMk cId="2028175529" sldId="282"/>
            <ac:picMk id="7" creationId="{D336F163-0CDA-3EC2-2A2F-2E24C7FE4388}"/>
          </ac:picMkLst>
        </pc:picChg>
      </pc:sldChg>
      <pc:sldChg chg="addSp modSp mod">
        <pc:chgData name="Roberto Gallardo" userId="49a044883f185952" providerId="LiveId" clId="{26A156D2-D15D-422D-B078-56C5CDF08E17}" dt="2023-03-15T00:21:06.606" v="81" actId="1076"/>
        <pc:sldMkLst>
          <pc:docMk/>
          <pc:sldMk cId="1326517747" sldId="283"/>
        </pc:sldMkLst>
        <pc:picChg chg="add mod">
          <ac:chgData name="Roberto Gallardo" userId="49a044883f185952" providerId="LiveId" clId="{26A156D2-D15D-422D-B078-56C5CDF08E17}" dt="2023-03-15T00:21:06.606" v="81" actId="1076"/>
          <ac:picMkLst>
            <pc:docMk/>
            <pc:sldMk cId="1326517747" sldId="283"/>
            <ac:picMk id="7" creationId="{7558E849-4EFF-795C-62A3-6CAEF8546854}"/>
          </ac:picMkLst>
        </pc:picChg>
      </pc:sldChg>
      <pc:sldChg chg="addSp modSp mod">
        <pc:chgData name="Roberto Gallardo" userId="49a044883f185952" providerId="LiveId" clId="{26A156D2-D15D-422D-B078-56C5CDF08E17}" dt="2023-03-15T00:21:26.006" v="92" actId="1076"/>
        <pc:sldMkLst>
          <pc:docMk/>
          <pc:sldMk cId="783739251" sldId="284"/>
        </pc:sldMkLst>
        <pc:picChg chg="add mod">
          <ac:chgData name="Roberto Gallardo" userId="49a044883f185952" providerId="LiveId" clId="{26A156D2-D15D-422D-B078-56C5CDF08E17}" dt="2023-03-15T00:21:26.006" v="92" actId="1076"/>
          <ac:picMkLst>
            <pc:docMk/>
            <pc:sldMk cId="783739251" sldId="284"/>
            <ac:picMk id="7" creationId="{095B7738-FC07-F453-CB2C-FEA73C4AC10A}"/>
          </ac:picMkLst>
        </pc:picChg>
      </pc:sldChg>
      <pc:sldChg chg="addSp modSp mod">
        <pc:chgData name="Roberto Gallardo" userId="49a044883f185952" providerId="LiveId" clId="{26A156D2-D15D-422D-B078-56C5CDF08E17}" dt="2023-03-15T00:21:38.694" v="99" actId="1076"/>
        <pc:sldMkLst>
          <pc:docMk/>
          <pc:sldMk cId="1676122233" sldId="285"/>
        </pc:sldMkLst>
        <pc:picChg chg="add mod">
          <ac:chgData name="Roberto Gallardo" userId="49a044883f185952" providerId="LiveId" clId="{26A156D2-D15D-422D-B078-56C5CDF08E17}" dt="2023-03-15T00:21:38.694" v="99" actId="1076"/>
          <ac:picMkLst>
            <pc:docMk/>
            <pc:sldMk cId="1676122233" sldId="285"/>
            <ac:picMk id="7" creationId="{3F7A3319-7C7D-A295-CA7F-C693FC3C634C}"/>
          </ac:picMkLst>
        </pc:picChg>
      </pc:sldChg>
      <pc:sldChg chg="addSp modSp mod">
        <pc:chgData name="Roberto Gallardo" userId="49a044883f185952" providerId="LiveId" clId="{26A156D2-D15D-422D-B078-56C5CDF08E17}" dt="2023-03-15T00:21:52.830" v="108" actId="1076"/>
        <pc:sldMkLst>
          <pc:docMk/>
          <pc:sldMk cId="3100398757" sldId="286"/>
        </pc:sldMkLst>
        <pc:picChg chg="add mod">
          <ac:chgData name="Roberto Gallardo" userId="49a044883f185952" providerId="LiveId" clId="{26A156D2-D15D-422D-B078-56C5CDF08E17}" dt="2023-03-15T00:21:52.830" v="108" actId="1076"/>
          <ac:picMkLst>
            <pc:docMk/>
            <pc:sldMk cId="3100398757" sldId="286"/>
            <ac:picMk id="7" creationId="{220C1DC6-25B2-9D2F-D68C-D1CA42CC70F4}"/>
          </ac:picMkLst>
        </pc:picChg>
      </pc:sldChg>
      <pc:sldChg chg="addSp modSp mod">
        <pc:chgData name="Roberto Gallardo" userId="49a044883f185952" providerId="LiveId" clId="{26A156D2-D15D-422D-B078-56C5CDF08E17}" dt="2023-03-15T00:22:14.634" v="124" actId="1037"/>
        <pc:sldMkLst>
          <pc:docMk/>
          <pc:sldMk cId="1546475425" sldId="287"/>
        </pc:sldMkLst>
        <pc:picChg chg="add mod">
          <ac:chgData name="Roberto Gallardo" userId="49a044883f185952" providerId="LiveId" clId="{26A156D2-D15D-422D-B078-56C5CDF08E17}" dt="2023-03-15T00:22:14.634" v="124" actId="1037"/>
          <ac:picMkLst>
            <pc:docMk/>
            <pc:sldMk cId="1546475425" sldId="287"/>
            <ac:picMk id="7" creationId="{005E2CEB-CD69-71D7-124F-F63D19838317}"/>
          </ac:picMkLst>
        </pc:picChg>
      </pc:sldChg>
      <pc:sldChg chg="addSp modSp mod">
        <pc:chgData name="Roberto Gallardo" userId="49a044883f185952" providerId="LiveId" clId="{26A156D2-D15D-422D-B078-56C5CDF08E17}" dt="2023-03-15T00:22:46.786" v="142" actId="1076"/>
        <pc:sldMkLst>
          <pc:docMk/>
          <pc:sldMk cId="1380517306" sldId="288"/>
        </pc:sldMkLst>
        <pc:picChg chg="add mod">
          <ac:chgData name="Roberto Gallardo" userId="49a044883f185952" providerId="LiveId" clId="{26A156D2-D15D-422D-B078-56C5CDF08E17}" dt="2023-03-15T00:22:46.786" v="142" actId="1076"/>
          <ac:picMkLst>
            <pc:docMk/>
            <pc:sldMk cId="1380517306" sldId="288"/>
            <ac:picMk id="7" creationId="{C1E81E0C-2FBB-E9A5-1E68-73AE670F91E0}"/>
          </ac:picMkLst>
        </pc:picChg>
      </pc:sldChg>
      <pc:sldChg chg="addSp modSp mod">
        <pc:chgData name="Roberto Gallardo" userId="49a044883f185952" providerId="LiveId" clId="{26A156D2-D15D-422D-B078-56C5CDF08E17}" dt="2023-03-15T00:23:02.154" v="152" actId="1076"/>
        <pc:sldMkLst>
          <pc:docMk/>
          <pc:sldMk cId="1388671151" sldId="289"/>
        </pc:sldMkLst>
        <pc:picChg chg="add mod">
          <ac:chgData name="Roberto Gallardo" userId="49a044883f185952" providerId="LiveId" clId="{26A156D2-D15D-422D-B078-56C5CDF08E17}" dt="2023-03-15T00:23:02.154" v="152" actId="1076"/>
          <ac:picMkLst>
            <pc:docMk/>
            <pc:sldMk cId="1388671151" sldId="289"/>
            <ac:picMk id="7" creationId="{4D9E5B56-32F5-52E5-FA5A-E7E9C5E58EEA}"/>
          </ac:picMkLst>
        </pc:picChg>
      </pc:sldChg>
      <pc:sldChg chg="addSp modSp mod">
        <pc:chgData name="Roberto Gallardo" userId="49a044883f185952" providerId="LiveId" clId="{26A156D2-D15D-422D-B078-56C5CDF08E17}" dt="2023-03-15T00:23:35.450" v="174" actId="1076"/>
        <pc:sldMkLst>
          <pc:docMk/>
          <pc:sldMk cId="2355376039" sldId="290"/>
        </pc:sldMkLst>
        <pc:picChg chg="add mod">
          <ac:chgData name="Roberto Gallardo" userId="49a044883f185952" providerId="LiveId" clId="{26A156D2-D15D-422D-B078-56C5CDF08E17}" dt="2023-03-15T00:23:35.450" v="174" actId="1076"/>
          <ac:picMkLst>
            <pc:docMk/>
            <pc:sldMk cId="2355376039" sldId="290"/>
            <ac:picMk id="8" creationId="{0E8492DC-D5FD-9ED2-77F1-476BAA0C6D74}"/>
          </ac:picMkLst>
        </pc:picChg>
      </pc:sldChg>
      <pc:sldChg chg="addSp modSp mod">
        <pc:chgData name="Roberto Gallardo" userId="49a044883f185952" providerId="LiveId" clId="{26A156D2-D15D-422D-B078-56C5CDF08E17}" dt="2023-03-15T00:23:50.385" v="185" actId="1076"/>
        <pc:sldMkLst>
          <pc:docMk/>
          <pc:sldMk cId="3757257295" sldId="291"/>
        </pc:sldMkLst>
        <pc:picChg chg="add mod">
          <ac:chgData name="Roberto Gallardo" userId="49a044883f185952" providerId="LiveId" clId="{26A156D2-D15D-422D-B078-56C5CDF08E17}" dt="2023-03-15T00:23:50.385" v="185" actId="1076"/>
          <ac:picMkLst>
            <pc:docMk/>
            <pc:sldMk cId="3757257295" sldId="291"/>
            <ac:picMk id="8" creationId="{A0C2D70D-119E-65F9-AFD9-3DC741763164}"/>
          </ac:picMkLst>
        </pc:picChg>
      </pc:sldChg>
      <pc:sldChg chg="addSp modSp mod">
        <pc:chgData name="Roberto Gallardo" userId="49a044883f185952" providerId="LiveId" clId="{26A156D2-D15D-422D-B078-56C5CDF08E17}" dt="2023-03-15T00:22:31.342" v="133" actId="1076"/>
        <pc:sldMkLst>
          <pc:docMk/>
          <pc:sldMk cId="1259856727" sldId="292"/>
        </pc:sldMkLst>
        <pc:picChg chg="add mod">
          <ac:chgData name="Roberto Gallardo" userId="49a044883f185952" providerId="LiveId" clId="{26A156D2-D15D-422D-B078-56C5CDF08E17}" dt="2023-03-15T00:22:31.342" v="133" actId="1076"/>
          <ac:picMkLst>
            <pc:docMk/>
            <pc:sldMk cId="1259856727" sldId="292"/>
            <ac:picMk id="7" creationId="{C966686A-B5D4-D849-9687-332B0B1F1EDB}"/>
          </ac:picMkLst>
        </pc:picChg>
      </pc:sldChg>
      <pc:sldChg chg="addSp modSp mod">
        <pc:chgData name="Roberto Gallardo" userId="49a044883f185952" providerId="LiveId" clId="{26A156D2-D15D-422D-B078-56C5CDF08E17}" dt="2023-03-15T00:20:20.026" v="49" actId="1076"/>
        <pc:sldMkLst>
          <pc:docMk/>
          <pc:sldMk cId="3324519687" sldId="293"/>
        </pc:sldMkLst>
        <pc:picChg chg="add mod">
          <ac:chgData name="Roberto Gallardo" userId="49a044883f185952" providerId="LiveId" clId="{26A156D2-D15D-422D-B078-56C5CDF08E17}" dt="2023-03-15T00:20:20.026" v="49" actId="1076"/>
          <ac:picMkLst>
            <pc:docMk/>
            <pc:sldMk cId="3324519687" sldId="293"/>
            <ac:picMk id="7" creationId="{81E19F2C-0C03-3E00-9FB7-D6869EDA6ACA}"/>
          </ac:picMkLst>
        </pc:picChg>
      </pc:sldChg>
      <pc:sldChg chg="addSp modSp mod">
        <pc:chgData name="Roberto Gallardo" userId="49a044883f185952" providerId="LiveId" clId="{26A156D2-D15D-422D-B078-56C5CDF08E17}" dt="2023-03-15T00:19:48.890" v="31" actId="1076"/>
        <pc:sldMkLst>
          <pc:docMk/>
          <pc:sldMk cId="3256182630" sldId="295"/>
        </pc:sldMkLst>
        <pc:picChg chg="add mod">
          <ac:chgData name="Roberto Gallardo" userId="49a044883f185952" providerId="LiveId" clId="{26A156D2-D15D-422D-B078-56C5CDF08E17}" dt="2023-03-15T00:19:48.890" v="31" actId="1076"/>
          <ac:picMkLst>
            <pc:docMk/>
            <pc:sldMk cId="3256182630" sldId="295"/>
            <ac:picMk id="7" creationId="{71EF936B-0754-4B34-D95E-C9A752C5CAE4}"/>
          </ac:picMkLst>
        </pc:picChg>
      </pc:sldChg>
      <pc:sldChg chg="addSp modSp mod">
        <pc:chgData name="Roberto Gallardo" userId="49a044883f185952" providerId="LiveId" clId="{26A156D2-D15D-422D-B078-56C5CDF08E17}" dt="2023-03-15T00:20:04.203" v="40" actId="1076"/>
        <pc:sldMkLst>
          <pc:docMk/>
          <pc:sldMk cId="4057156843" sldId="296"/>
        </pc:sldMkLst>
        <pc:picChg chg="add mod">
          <ac:chgData name="Roberto Gallardo" userId="49a044883f185952" providerId="LiveId" clId="{26A156D2-D15D-422D-B078-56C5CDF08E17}" dt="2023-03-15T00:20:04.203" v="40" actId="1076"/>
          <ac:picMkLst>
            <pc:docMk/>
            <pc:sldMk cId="4057156843" sldId="296"/>
            <ac:picMk id="7" creationId="{B2002960-541D-1D43-9F6E-69E1E658038F}"/>
          </ac:picMkLst>
        </pc:picChg>
      </pc:sldChg>
      <pc:sldChg chg="addSp modSp mod">
        <pc:chgData name="Roberto Gallardo" userId="49a044883f185952" providerId="LiveId" clId="{26A156D2-D15D-422D-B078-56C5CDF08E17}" dt="2023-03-15T00:19:33.491" v="23" actId="1076"/>
        <pc:sldMkLst>
          <pc:docMk/>
          <pc:sldMk cId="2080110827" sldId="297"/>
        </pc:sldMkLst>
        <pc:picChg chg="add mod">
          <ac:chgData name="Roberto Gallardo" userId="49a044883f185952" providerId="LiveId" clId="{26A156D2-D15D-422D-B078-56C5CDF08E17}" dt="2023-03-15T00:19:33.491" v="23" actId="1076"/>
          <ac:picMkLst>
            <pc:docMk/>
            <pc:sldMk cId="2080110827" sldId="297"/>
            <ac:picMk id="6" creationId="{5C2D28E9-D87C-D53A-19F2-D672EA86C1FF}"/>
          </ac:picMkLst>
        </pc:picChg>
      </pc:sldChg>
      <pc:sldChg chg="addSp modSp mod">
        <pc:chgData name="Roberto Gallardo" userId="49a044883f185952" providerId="LiveId" clId="{26A156D2-D15D-422D-B078-56C5CDF08E17}" dt="2023-03-15T00:19:16.143" v="14" actId="1076"/>
        <pc:sldMkLst>
          <pc:docMk/>
          <pc:sldMk cId="1532666867" sldId="298"/>
        </pc:sldMkLst>
        <pc:picChg chg="add mod">
          <ac:chgData name="Roberto Gallardo" userId="49a044883f185952" providerId="LiveId" clId="{26A156D2-D15D-422D-B078-56C5CDF08E17}" dt="2023-03-15T00:19:16.143" v="14" actId="1076"/>
          <ac:picMkLst>
            <pc:docMk/>
            <pc:sldMk cId="1532666867" sldId="298"/>
            <ac:picMk id="6" creationId="{00A81DFC-F9A2-4872-14CA-DFFB58EEF776}"/>
          </ac:picMkLst>
        </pc:picChg>
      </pc:sldChg>
      <pc:sldChg chg="addSp modSp mod">
        <pc:chgData name="Roberto Gallardo" userId="49a044883f185952" providerId="LiveId" clId="{26A156D2-D15D-422D-B078-56C5CDF08E17}" dt="2023-03-15T00:23:20.106" v="164" actId="1076"/>
        <pc:sldMkLst>
          <pc:docMk/>
          <pc:sldMk cId="1951376777" sldId="299"/>
        </pc:sldMkLst>
        <pc:picChg chg="add mod">
          <ac:chgData name="Roberto Gallardo" userId="49a044883f185952" providerId="LiveId" clId="{26A156D2-D15D-422D-B078-56C5CDF08E17}" dt="2023-03-15T00:23:20.106" v="164" actId="1076"/>
          <ac:picMkLst>
            <pc:docMk/>
            <pc:sldMk cId="1951376777" sldId="299"/>
            <ac:picMk id="7" creationId="{F42935B9-3D4D-1CCB-CAD3-83C3AE19A98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Surry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4420E50-EF13-7561-BD5B-13E23376CE22}"/>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AFD18886-2F1C-620D-82B8-9F98CF483A36}"/>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D433D18D-ADBE-71E1-3DF9-57C893CF10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866" y="1028700"/>
            <a:ext cx="7612068" cy="5382928"/>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0A81DFC-F9A2-4872-14CA-DFFB58EEF7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C2D28E9-D87C-D53A-19F2-D672EA86C1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985" y="1028700"/>
            <a:ext cx="7603830" cy="5377103"/>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8A93168-B5CE-575E-95DC-67FC22CA1180}"/>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71EF936B-0754-4B34-D95E-C9A752C5CA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E5F5D5D-A025-3DC0-F2FA-B8D903ACF2AD}"/>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B2002960-541D-1D43-9F6E-69E1E65803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3"/>
            <a:ext cx="6400801" cy="4526373"/>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9532B63E-6D73-CBE0-745F-1818B20D0F85}"/>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81E19F2C-0C03-3E00-9FB7-D6869EDA6A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DB27A85-3C6C-22AC-60D7-978E70561B72}"/>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3A137BB4-20B6-9598-2F24-97F3C14F04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7284989-D5DD-8F07-A387-7A2B1F68D3EC}"/>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D336F163-0CDA-3EC2-2A2F-2E24C7FE43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94"/>
            <a:ext cx="6400632" cy="452625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E6AC1DD-9D5A-3BEE-E756-E417D75701FD}"/>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558E849-4EFF-795C-62A3-6CAEF8546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1A242CA-9543-D896-70B9-8692E18A35E6}"/>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095B7738-FC07-F453-CB2C-FEA73C4AC1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7477439-05F4-9645-0033-65262B1EAAAC}"/>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3F7A3319-7C7D-A295-CA7F-C693FC3C63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1937"/>
            <a:ext cx="6413391" cy="4535275"/>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ADF970C-E4EB-D696-37D0-2C59C25320CE}"/>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220C1DC6-25B2-9D2F-D68C-D1CA42CC70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192D87F-BB7A-1438-C608-D5A31FEEA40C}"/>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005E2CEB-CD69-71D7-124F-F63D198383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037" y="1415095"/>
            <a:ext cx="6400801"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D583C8A-5F6C-9524-F9CA-28DB084F008A}"/>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C966686A-B5D4-D849-9687-332B0B1F1E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9A504A9-D946-D492-C4E5-6DC3D80A44BD}"/>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C1E81E0C-2FBB-E9A5-1E68-73AE670F91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8FC47EA-8D84-2160-6016-E7DA87908135}"/>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4D9E5B56-32F5-52E5-FA5A-E7E9C5E58E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8CA532D0-39CF-FB64-6359-97615B7ED2CC}"/>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F42935B9-3D4D-1CCB-CAD3-83C3AE19A9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653AAB3-618C-629A-03B8-7740BBBB5DC2}"/>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0E8492DC-D5FD-9ED2-77F1-476BAA0C6D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A741361-39FD-C126-9747-AB7990DD37CC}"/>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A4D317B5-00A2-FA24-2A47-65944A751D5D}"/>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A0C2D70D-119E-65F9-AFD9-3DC7417631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8B8A6DB-1F8A-3E47-6D1C-5CD63A7D4BAD}"/>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023B384-A4E2-84A1-CA00-E189B614C2F8}"/>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320B579-56C0-7975-A04C-DAFD9F70336F}"/>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798696"/>
            <a:ext cx="1198148" cy="2163351"/>
            <a:chOff x="10485745" y="2726960"/>
            <a:chExt cx="1198148" cy="216335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1913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2696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26960"/>
              <a:ext cx="0" cy="69217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11691"/>
              <a:ext cx="0" cy="57862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F5FF212-0FC3-694F-B457-0039A3CFBE60}"/>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ADC0AFD-2D2F-BAE9-05BC-367B14CB4978}"/>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AED3360-1635-EB24-3713-26C3644862D9}"/>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E347107-EC62-28AB-8C4E-F090FBCB3DDF}"/>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6DB5BF7-D5ED-F842-C728-43F0757B1D9B}"/>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603C9AD-5571-1575-8825-5191E9631B0E}"/>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5DAB2AC-C9A3-97BA-ED10-3181616708F7}"/>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D3DA40AC-6842-8FFD-E065-CD5853473D06}"/>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5</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6</cp:revision>
  <dcterms:created xsi:type="dcterms:W3CDTF">2022-07-04T13:32:28Z</dcterms:created>
  <dcterms:modified xsi:type="dcterms:W3CDTF">2023-03-15T00:23:59Z</dcterms:modified>
</cp:coreProperties>
</file>